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73" d="100"/>
          <a:sy n="73" d="100"/>
        </p:scale>
        <p:origin x="9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3</c:f>
              <c:numCache>
                <c:formatCode>m/d/yyyy</c:formatCode>
                <c:ptCount val="2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</c:numCache>
            </c:numRef>
          </c:cat>
          <c:val>
            <c:numRef>
              <c:f>Sheet1!$D$2:$D$223</c:f>
              <c:numCache>
                <c:formatCode>#,##0</c:formatCode>
                <c:ptCount val="222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2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9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70</c:v>
                </c:pt>
                <c:pt idx="168">
                  <c:v>594</c:v>
                </c:pt>
                <c:pt idx="169">
                  <c:v>608</c:v>
                </c:pt>
                <c:pt idx="170">
                  <c:v>618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3</c:v>
                </c:pt>
                <c:pt idx="175">
                  <c:v>697</c:v>
                </c:pt>
                <c:pt idx="176">
                  <c:v>684</c:v>
                </c:pt>
                <c:pt idx="177">
                  <c:v>730</c:v>
                </c:pt>
                <c:pt idx="178">
                  <c:v>722</c:v>
                </c:pt>
                <c:pt idx="179">
                  <c:v>716</c:v>
                </c:pt>
                <c:pt idx="180">
                  <c:v>742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0</c:v>
                </c:pt>
                <c:pt idx="188">
                  <c:v>917</c:v>
                </c:pt>
                <c:pt idx="189">
                  <c:v>907</c:v>
                </c:pt>
                <c:pt idx="190">
                  <c:v>915</c:v>
                </c:pt>
                <c:pt idx="191">
                  <c:v>917</c:v>
                </c:pt>
                <c:pt idx="192">
                  <c:v>930</c:v>
                </c:pt>
                <c:pt idx="193">
                  <c:v>912</c:v>
                </c:pt>
                <c:pt idx="194">
                  <c:v>939</c:v>
                </c:pt>
                <c:pt idx="195">
                  <c:v>943</c:v>
                </c:pt>
                <c:pt idx="196">
                  <c:v>928</c:v>
                </c:pt>
                <c:pt idx="197">
                  <c:v>927</c:v>
                </c:pt>
                <c:pt idx="198">
                  <c:v>954</c:v>
                </c:pt>
                <c:pt idx="199">
                  <c:v>944</c:v>
                </c:pt>
                <c:pt idx="200">
                  <c:v>940</c:v>
                </c:pt>
                <c:pt idx="201">
                  <c:v>935</c:v>
                </c:pt>
                <c:pt idx="202">
                  <c:v>972</c:v>
                </c:pt>
                <c:pt idx="203">
                  <c:v>931</c:v>
                </c:pt>
                <c:pt idx="204">
                  <c:v>922</c:v>
                </c:pt>
                <c:pt idx="207">
                  <c:v>878</c:v>
                </c:pt>
                <c:pt idx="208">
                  <c:v>863</c:v>
                </c:pt>
                <c:pt idx="209">
                  <c:v>866</c:v>
                </c:pt>
                <c:pt idx="210">
                  <c:v>842</c:v>
                </c:pt>
                <c:pt idx="211">
                  <c:v>815</c:v>
                </c:pt>
                <c:pt idx="212">
                  <c:v>794</c:v>
                </c:pt>
                <c:pt idx="213">
                  <c:v>768</c:v>
                </c:pt>
                <c:pt idx="214">
                  <c:v>734</c:v>
                </c:pt>
                <c:pt idx="215">
                  <c:v>723</c:v>
                </c:pt>
                <c:pt idx="216">
                  <c:v>720</c:v>
                </c:pt>
                <c:pt idx="217">
                  <c:v>742</c:v>
                </c:pt>
                <c:pt idx="218">
                  <c:v>716</c:v>
                </c:pt>
                <c:pt idx="219">
                  <c:v>671</c:v>
                </c:pt>
                <c:pt idx="220">
                  <c:v>634</c:v>
                </c:pt>
                <c:pt idx="221">
                  <c:v>6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3</c:f>
              <c:numCache>
                <c:formatCode>m/d/yyyy</c:formatCode>
                <c:ptCount val="2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</c:numCache>
            </c:numRef>
          </c:cat>
          <c:val>
            <c:numRef>
              <c:f>Sheet1!$B$2:$B$223</c:f>
              <c:numCache>
                <c:formatCode>#,##0</c:formatCode>
                <c:ptCount val="222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3</c:f>
              <c:numCache>
                <c:formatCode>m/d/yyyy</c:formatCode>
                <c:ptCount val="2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</c:numCache>
            </c:numRef>
          </c:cat>
          <c:val>
            <c:numRef>
              <c:f>Sheet1!$C$2:$C$223</c:f>
              <c:numCache>
                <c:formatCode>#,##0</c:formatCode>
                <c:ptCount val="22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3</c:f>
              <c:numCache>
                <c:formatCode>m/d/yyyy</c:formatCode>
                <c:ptCount val="2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</c:numCache>
            </c:numRef>
          </c:cat>
          <c:val>
            <c:numRef>
              <c:f>Sheet1!$D$2:$D$223</c:f>
              <c:numCache>
                <c:formatCode>#,##0</c:formatCode>
                <c:ptCount val="222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6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7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2</c:v>
                </c:pt>
                <c:pt idx="67">
                  <c:v>3348</c:v>
                </c:pt>
                <c:pt idx="68">
                  <c:v>3354</c:v>
                </c:pt>
                <c:pt idx="69">
                  <c:v>3292</c:v>
                </c:pt>
                <c:pt idx="70">
                  <c:v>3196</c:v>
                </c:pt>
                <c:pt idx="71">
                  <c:v>2968</c:v>
                </c:pt>
                <c:pt idx="72">
                  <c:v>2891</c:v>
                </c:pt>
                <c:pt idx="73">
                  <c:v>2751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5</c:v>
                </c:pt>
                <c:pt idx="89">
                  <c:v>1545</c:v>
                </c:pt>
                <c:pt idx="90">
                  <c:v>1541</c:v>
                </c:pt>
                <c:pt idx="91">
                  <c:v>1531</c:v>
                </c:pt>
                <c:pt idx="92">
                  <c:v>1472</c:v>
                </c:pt>
                <c:pt idx="93">
                  <c:v>1465</c:v>
                </c:pt>
                <c:pt idx="94">
                  <c:v>1495</c:v>
                </c:pt>
                <c:pt idx="95">
                  <c:v>1480</c:v>
                </c:pt>
                <c:pt idx="96">
                  <c:v>1507</c:v>
                </c:pt>
                <c:pt idx="97">
                  <c:v>1556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90</c:v>
                </c:pt>
                <c:pt idx="107">
                  <c:v>1652</c:v>
                </c:pt>
                <c:pt idx="108">
                  <c:v>1655</c:v>
                </c:pt>
                <c:pt idx="109">
                  <c:v>1647</c:v>
                </c:pt>
                <c:pt idx="110">
                  <c:v>1682</c:v>
                </c:pt>
                <c:pt idx="111">
                  <c:v>1682</c:v>
                </c:pt>
                <c:pt idx="112">
                  <c:v>1715</c:v>
                </c:pt>
                <c:pt idx="113">
                  <c:v>1738</c:v>
                </c:pt>
                <c:pt idx="114">
                  <c:v>1646</c:v>
                </c:pt>
                <c:pt idx="115">
                  <c:v>1748</c:v>
                </c:pt>
                <c:pt idx="116">
                  <c:v>1861</c:v>
                </c:pt>
                <c:pt idx="117">
                  <c:v>1985</c:v>
                </c:pt>
                <c:pt idx="118">
                  <c:v>2295</c:v>
                </c:pt>
                <c:pt idx="119">
                  <c:v>2353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7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8</c:v>
                </c:pt>
                <c:pt idx="143">
                  <c:v>2554</c:v>
                </c:pt>
                <c:pt idx="144">
                  <c:v>2519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3</c:v>
                </c:pt>
                <c:pt idx="151">
                  <c:v>2378</c:v>
                </c:pt>
                <c:pt idx="152">
                  <c:v>2374</c:v>
                </c:pt>
                <c:pt idx="153">
                  <c:v>2459</c:v>
                </c:pt>
                <c:pt idx="154">
                  <c:v>2395</c:v>
                </c:pt>
                <c:pt idx="155">
                  <c:v>2417</c:v>
                </c:pt>
                <c:pt idx="156">
                  <c:v>2397</c:v>
                </c:pt>
                <c:pt idx="157">
                  <c:v>2372</c:v>
                </c:pt>
                <c:pt idx="158">
                  <c:v>2352</c:v>
                </c:pt>
                <c:pt idx="159">
                  <c:v>2414</c:v>
                </c:pt>
                <c:pt idx="160">
                  <c:v>2478</c:v>
                </c:pt>
                <c:pt idx="161">
                  <c:v>2492</c:v>
                </c:pt>
                <c:pt idx="162">
                  <c:v>2420</c:v>
                </c:pt>
                <c:pt idx="163">
                  <c:v>2457</c:v>
                </c:pt>
                <c:pt idx="164">
                  <c:v>2410</c:v>
                </c:pt>
                <c:pt idx="165">
                  <c:v>2474</c:v>
                </c:pt>
                <c:pt idx="166">
                  <c:v>2592</c:v>
                </c:pt>
                <c:pt idx="167">
                  <c:v>2624</c:v>
                </c:pt>
                <c:pt idx="168">
                  <c:v>2656</c:v>
                </c:pt>
                <c:pt idx="169">
                  <c:v>2722</c:v>
                </c:pt>
                <c:pt idx="170">
                  <c:v>2763</c:v>
                </c:pt>
                <c:pt idx="171">
                  <c:v>2681</c:v>
                </c:pt>
                <c:pt idx="172">
                  <c:v>2687</c:v>
                </c:pt>
                <c:pt idx="173">
                  <c:v>2810</c:v>
                </c:pt>
                <c:pt idx="174">
                  <c:v>3003</c:v>
                </c:pt>
                <c:pt idx="175">
                  <c:v>3023</c:v>
                </c:pt>
                <c:pt idx="176">
                  <c:v>3035</c:v>
                </c:pt>
                <c:pt idx="177">
                  <c:v>3048</c:v>
                </c:pt>
                <c:pt idx="178">
                  <c:v>3132</c:v>
                </c:pt>
                <c:pt idx="179">
                  <c:v>3238</c:v>
                </c:pt>
                <c:pt idx="180">
                  <c:v>3380</c:v>
                </c:pt>
                <c:pt idx="181">
                  <c:v>3585</c:v>
                </c:pt>
                <c:pt idx="182">
                  <c:v>3629</c:v>
                </c:pt>
                <c:pt idx="183">
                  <c:v>3603</c:v>
                </c:pt>
                <c:pt idx="184">
                  <c:v>3686</c:v>
                </c:pt>
                <c:pt idx="185">
                  <c:v>3707</c:v>
                </c:pt>
                <c:pt idx="186">
                  <c:v>3791</c:v>
                </c:pt>
                <c:pt idx="187">
                  <c:v>3879</c:v>
                </c:pt>
                <c:pt idx="188">
                  <c:v>3927</c:v>
                </c:pt>
                <c:pt idx="189">
                  <c:v>3945</c:v>
                </c:pt>
                <c:pt idx="190">
                  <c:v>3957</c:v>
                </c:pt>
                <c:pt idx="191">
                  <c:v>3929</c:v>
                </c:pt>
                <c:pt idx="192">
                  <c:v>3864</c:v>
                </c:pt>
                <c:pt idx="193">
                  <c:v>3977</c:v>
                </c:pt>
                <c:pt idx="194">
                  <c:v>4045</c:v>
                </c:pt>
                <c:pt idx="195">
                  <c:v>4193</c:v>
                </c:pt>
                <c:pt idx="196">
                  <c:v>4109</c:v>
                </c:pt>
                <c:pt idx="197">
                  <c:v>4032</c:v>
                </c:pt>
                <c:pt idx="198">
                  <c:v>4007</c:v>
                </c:pt>
                <c:pt idx="199">
                  <c:v>3799</c:v>
                </c:pt>
                <c:pt idx="200">
                  <c:v>3727</c:v>
                </c:pt>
                <c:pt idx="201">
                  <c:v>3807</c:v>
                </c:pt>
                <c:pt idx="202">
                  <c:v>3828</c:v>
                </c:pt>
                <c:pt idx="203">
                  <c:v>3695</c:v>
                </c:pt>
                <c:pt idx="204">
                  <c:v>3550</c:v>
                </c:pt>
                <c:pt idx="207">
                  <c:v>3363</c:v>
                </c:pt>
                <c:pt idx="208">
                  <c:v>3392</c:v>
                </c:pt>
                <c:pt idx="209">
                  <c:v>3361</c:v>
                </c:pt>
                <c:pt idx="210">
                  <c:v>3277</c:v>
                </c:pt>
                <c:pt idx="211">
                  <c:v>3148</c:v>
                </c:pt>
                <c:pt idx="212">
                  <c:v>2999</c:v>
                </c:pt>
                <c:pt idx="213">
                  <c:v>2806</c:v>
                </c:pt>
                <c:pt idx="214">
                  <c:v>2761</c:v>
                </c:pt>
                <c:pt idx="215">
                  <c:v>2821</c:v>
                </c:pt>
                <c:pt idx="216">
                  <c:v>2836</c:v>
                </c:pt>
                <c:pt idx="217">
                  <c:v>3030</c:v>
                </c:pt>
                <c:pt idx="218">
                  <c:v>2851</c:v>
                </c:pt>
                <c:pt idx="219">
                  <c:v>2659</c:v>
                </c:pt>
                <c:pt idx="220">
                  <c:v>2416</c:v>
                </c:pt>
                <c:pt idx="221">
                  <c:v>2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1"/>
              <c:layout>
                <c:manualLayout>
                  <c:x val="-8.4504880832907154E-8"/>
                  <c:y val="-2.69434272888123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23</c:f>
              <c:numCache>
                <c:formatCode>m/d/yyyy</c:formatCode>
                <c:ptCount val="2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</c:numCache>
            </c:numRef>
          </c:cat>
          <c:val>
            <c:numRef>
              <c:f>Sheet1!$B$2:$B$223</c:f>
              <c:numCache>
                <c:formatCode>#,##0</c:formatCode>
                <c:ptCount val="222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3</c:f>
              <c:numCache>
                <c:formatCode>m/d/yyyy</c:formatCode>
                <c:ptCount val="2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</c:numCache>
            </c:numRef>
          </c:cat>
          <c:val>
            <c:numRef>
              <c:f>Sheet1!$C$2:$C$223</c:f>
              <c:numCache>
                <c:formatCode>#,##0</c:formatCode>
                <c:ptCount val="22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3</c:f>
              <c:numCache>
                <c:formatCode>m/d/yyyy</c:formatCode>
                <c:ptCount val="2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</c:numCache>
            </c:numRef>
          </c:cat>
          <c:val>
            <c:numRef>
              <c:f>Sheet1!$D$2:$D$223</c:f>
              <c:numCache>
                <c:formatCode>#,##0</c:formatCode>
                <c:ptCount val="222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5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39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0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4</c:v>
                </c:pt>
                <c:pt idx="91">
                  <c:v>726</c:v>
                </c:pt>
                <c:pt idx="92">
                  <c:v>710</c:v>
                </c:pt>
                <c:pt idx="93">
                  <c:v>712</c:v>
                </c:pt>
                <c:pt idx="94">
                  <c:v>708</c:v>
                </c:pt>
                <c:pt idx="95">
                  <c:v>684</c:v>
                </c:pt>
                <c:pt idx="96">
                  <c:v>671</c:v>
                </c:pt>
                <c:pt idx="97">
                  <c:v>709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3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1</c:v>
                </c:pt>
                <c:pt idx="110">
                  <c:v>751</c:v>
                </c:pt>
                <c:pt idx="111">
                  <c:v>761</c:v>
                </c:pt>
                <c:pt idx="112">
                  <c:v>766</c:v>
                </c:pt>
                <c:pt idx="113">
                  <c:v>776</c:v>
                </c:pt>
                <c:pt idx="114">
                  <c:v>745</c:v>
                </c:pt>
                <c:pt idx="115">
                  <c:v>766</c:v>
                </c:pt>
                <c:pt idx="116">
                  <c:v>804</c:v>
                </c:pt>
                <c:pt idx="117">
                  <c:v>845</c:v>
                </c:pt>
                <c:pt idx="118">
                  <c:v>905</c:v>
                </c:pt>
                <c:pt idx="119">
                  <c:v>940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9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7</c:v>
                </c:pt>
                <c:pt idx="166">
                  <c:v>1148</c:v>
                </c:pt>
                <c:pt idx="167">
                  <c:v>1172</c:v>
                </c:pt>
                <c:pt idx="168">
                  <c:v>1216</c:v>
                </c:pt>
                <c:pt idx="169">
                  <c:v>1244</c:v>
                </c:pt>
                <c:pt idx="170">
                  <c:v>1269</c:v>
                </c:pt>
                <c:pt idx="171">
                  <c:v>1272</c:v>
                </c:pt>
                <c:pt idx="172">
                  <c:v>1272</c:v>
                </c:pt>
                <c:pt idx="173">
                  <c:v>1284</c:v>
                </c:pt>
                <c:pt idx="174">
                  <c:v>1366</c:v>
                </c:pt>
                <c:pt idx="175">
                  <c:v>1395</c:v>
                </c:pt>
                <c:pt idx="176">
                  <c:v>1412</c:v>
                </c:pt>
                <c:pt idx="177">
                  <c:v>1465</c:v>
                </c:pt>
                <c:pt idx="178">
                  <c:v>1441</c:v>
                </c:pt>
                <c:pt idx="179">
                  <c:v>1468</c:v>
                </c:pt>
                <c:pt idx="180">
                  <c:v>1505</c:v>
                </c:pt>
                <c:pt idx="181">
                  <c:v>1588</c:v>
                </c:pt>
                <c:pt idx="182">
                  <c:v>1600</c:v>
                </c:pt>
                <c:pt idx="183">
                  <c:v>1626</c:v>
                </c:pt>
                <c:pt idx="184">
                  <c:v>1651</c:v>
                </c:pt>
                <c:pt idx="185">
                  <c:v>1671</c:v>
                </c:pt>
                <c:pt idx="186">
                  <c:v>1674</c:v>
                </c:pt>
                <c:pt idx="187">
                  <c:v>1678</c:v>
                </c:pt>
                <c:pt idx="188">
                  <c:v>1772</c:v>
                </c:pt>
                <c:pt idx="189">
                  <c:v>1801</c:v>
                </c:pt>
                <c:pt idx="190">
                  <c:v>1831</c:v>
                </c:pt>
                <c:pt idx="191">
                  <c:v>1821</c:v>
                </c:pt>
                <c:pt idx="192">
                  <c:v>1836</c:v>
                </c:pt>
                <c:pt idx="193">
                  <c:v>1785</c:v>
                </c:pt>
                <c:pt idx="194">
                  <c:v>1833</c:v>
                </c:pt>
                <c:pt idx="195">
                  <c:v>1891</c:v>
                </c:pt>
                <c:pt idx="196">
                  <c:v>1897</c:v>
                </c:pt>
                <c:pt idx="197">
                  <c:v>1865</c:v>
                </c:pt>
                <c:pt idx="198">
                  <c:v>1864</c:v>
                </c:pt>
                <c:pt idx="199">
                  <c:v>1821</c:v>
                </c:pt>
                <c:pt idx="200">
                  <c:v>1783</c:v>
                </c:pt>
                <c:pt idx="201">
                  <c:v>1807</c:v>
                </c:pt>
                <c:pt idx="202">
                  <c:v>1824</c:v>
                </c:pt>
                <c:pt idx="203">
                  <c:v>1779</c:v>
                </c:pt>
                <c:pt idx="204">
                  <c:v>1746</c:v>
                </c:pt>
                <c:pt idx="207">
                  <c:v>1652</c:v>
                </c:pt>
                <c:pt idx="208">
                  <c:v>1660</c:v>
                </c:pt>
                <c:pt idx="209">
                  <c:v>1668</c:v>
                </c:pt>
                <c:pt idx="210">
                  <c:v>1620</c:v>
                </c:pt>
                <c:pt idx="211">
                  <c:v>1564</c:v>
                </c:pt>
                <c:pt idx="212">
                  <c:v>1518</c:v>
                </c:pt>
                <c:pt idx="213">
                  <c:v>1437</c:v>
                </c:pt>
                <c:pt idx="214">
                  <c:v>1413</c:v>
                </c:pt>
                <c:pt idx="215">
                  <c:v>1391</c:v>
                </c:pt>
                <c:pt idx="216">
                  <c:v>1362</c:v>
                </c:pt>
                <c:pt idx="217">
                  <c:v>1413</c:v>
                </c:pt>
                <c:pt idx="218">
                  <c:v>1388</c:v>
                </c:pt>
                <c:pt idx="219">
                  <c:v>1325</c:v>
                </c:pt>
                <c:pt idx="220">
                  <c:v>1261</c:v>
                </c:pt>
                <c:pt idx="221">
                  <c:v>12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2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193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2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3</c:f>
              <c:numCache>
                <c:formatCode>m/d/yyyy</c:formatCode>
                <c:ptCount val="2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</c:numCache>
            </c:numRef>
          </c:cat>
          <c:val>
            <c:numRef>
              <c:f>Sheet1!$B$2:$B$223</c:f>
              <c:numCache>
                <c:formatCode>#,##0</c:formatCode>
                <c:ptCount val="222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3</c:f>
              <c:numCache>
                <c:formatCode>m/d/yyyy</c:formatCode>
                <c:ptCount val="2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</c:numCache>
            </c:numRef>
          </c:cat>
          <c:val>
            <c:numRef>
              <c:f>Sheet1!$C$2:$C$223</c:f>
              <c:numCache>
                <c:formatCode>#,##0</c:formatCode>
                <c:ptCount val="22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3</c:f>
              <c:numCache>
                <c:formatCode>m/d/yyyy</c:formatCode>
                <c:ptCount val="2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</c:numCache>
            </c:numRef>
          </c:cat>
          <c:val>
            <c:numRef>
              <c:f>Sheet1!$D$2:$D$223</c:f>
              <c:numCache>
                <c:formatCode>#,##0</c:formatCode>
                <c:ptCount val="22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6</c:v>
                </c:pt>
                <c:pt idx="213">
                  <c:v>30</c:v>
                </c:pt>
                <c:pt idx="214">
                  <c:v>30</c:v>
                </c:pt>
                <c:pt idx="215">
                  <c:v>32</c:v>
                </c:pt>
                <c:pt idx="216">
                  <c:v>30</c:v>
                </c:pt>
                <c:pt idx="217">
                  <c:v>27</c:v>
                </c:pt>
                <c:pt idx="218">
                  <c:v>24</c:v>
                </c:pt>
                <c:pt idx="219">
                  <c:v>23</c:v>
                </c:pt>
                <c:pt idx="220">
                  <c:v>23</c:v>
                </c:pt>
                <c:pt idx="221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3</c:f>
              <c:numCache>
                <c:formatCode>m/d/yyyy</c:formatCode>
                <c:ptCount val="2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</c:numCache>
            </c:numRef>
          </c:cat>
          <c:val>
            <c:numRef>
              <c:f>Sheet1!$B$2:$B$223</c:f>
              <c:numCache>
                <c:formatCode>#,##0</c:formatCode>
                <c:ptCount val="222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3</c:f>
              <c:numCache>
                <c:formatCode>m/d/yyyy</c:formatCode>
                <c:ptCount val="22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</c:numCache>
            </c:numRef>
          </c:cat>
          <c:val>
            <c:numRef>
              <c:f>Sheet1!$C$2:$C$223</c:f>
              <c:numCache>
                <c:formatCode>#,##0</c:formatCode>
                <c:ptCount val="22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1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1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1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11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1427555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615516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23843674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30257151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843238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7027713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68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avřel Michal</cp:lastModifiedBy>
  <cp:revision>588</cp:revision>
  <dcterms:created xsi:type="dcterms:W3CDTF">2020-08-08T14:25:07Z</dcterms:created>
  <dcterms:modified xsi:type="dcterms:W3CDTF">2021-04-11T03:44:34Z</dcterms:modified>
</cp:coreProperties>
</file>